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3B2DD"/>
    <a:srgbClr val="F39C3D"/>
    <a:srgbClr val="B0A980"/>
    <a:srgbClr val="BF4EE2"/>
    <a:srgbClr val="50E068"/>
    <a:srgbClr val="F5F4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288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715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48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5897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692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64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168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7662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997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39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40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567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DEE59-56D5-4275-8334-F499AD119299}" type="datetimeFigureOut">
              <a:rPr lang="en-US" smtClean="0"/>
              <a:t>4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5BBA72-C0F2-4008-8CA2-A896CD7F588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799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3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/>
          <p:cNvSpPr>
            <a:spLocks/>
          </p:cNvSpPr>
          <p:nvPr/>
        </p:nvSpPr>
        <p:spPr>
          <a:xfrm>
            <a:off x="4008712" y="1976960"/>
            <a:ext cx="7924800" cy="4356000"/>
          </a:xfrm>
          <a:prstGeom prst="rect">
            <a:avLst/>
          </a:prstGeom>
          <a:solidFill>
            <a:schemeClr val="bg1">
              <a:lumMod val="100000"/>
            </a:schemeClr>
          </a:solidFill>
          <a:ln>
            <a:solidFill>
              <a:schemeClr val="tx1">
                <a:lumMod val="10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4110914" y="431943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110914" y="332410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110914" y="282644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110914" y="2328779"/>
            <a:ext cx="604258" cy="414686"/>
          </a:xfrm>
          <a:prstGeom prst="rect">
            <a:avLst/>
          </a:prstGeom>
          <a:solidFill>
            <a:srgbClr val="F5F4F4"/>
          </a:solidFill>
          <a:ln>
            <a:solidFill>
              <a:schemeClr val="bg2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i="1" dirty="0" smtClean="0">
                <a:solidFill>
                  <a:schemeClr val="tx1">
                    <a:lumMod val="100000"/>
                  </a:schemeClr>
                </a:solidFill>
              </a:rPr>
              <a:t>Ohne Tasten</a:t>
            </a:r>
            <a:endParaRPr lang="de-DE" sz="12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751172" y="531476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751172" y="481710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008712" y="1975132"/>
            <a:ext cx="7924801" cy="267868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>
                <a:solidFill>
                  <a:schemeClr val="bg1">
                    <a:lumMod val="100000"/>
                  </a:schemeClr>
                </a:solidFill>
              </a:rPr>
              <a:t>Funktionen der Farb-Buttons:</a:t>
            </a:r>
            <a:endParaRPr lang="de-DE" sz="1200" b="1" dirty="0">
              <a:solidFill>
                <a:schemeClr val="bg1">
                  <a:lumMod val="100000"/>
                </a:schemeClr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092648" y="232877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/>
              <a:t>Hintergrundfarbe</a:t>
            </a:r>
            <a:r>
              <a:rPr lang="de-DE" sz="1200" dirty="0"/>
              <a:t> der selektierten Shapes auf gewählte Farbe</a:t>
            </a:r>
            <a:r>
              <a:rPr lang="de-DE" sz="1200" dirty="0" smtClean="0"/>
              <a:t>.</a:t>
            </a:r>
          </a:p>
          <a:p>
            <a:r>
              <a:rPr lang="de-DE" sz="1200" dirty="0"/>
              <a:t>Ist kein Shape selektiert, werden alle Shapes mit der gewählten Hintergrundfarbe markiert</a:t>
            </a:r>
            <a:r>
              <a:rPr lang="de-DE" sz="1200" dirty="0" smtClean="0"/>
              <a:t>.</a:t>
            </a:r>
            <a:endParaRPr lang="de-DE" sz="1200" dirty="0"/>
          </a:p>
        </p:txBody>
      </p:sp>
      <p:sp>
        <p:nvSpPr>
          <p:cNvPr id="13" name="Textfeld 12"/>
          <p:cNvSpPr txBox="1"/>
          <p:nvPr/>
        </p:nvSpPr>
        <p:spPr>
          <a:xfrm>
            <a:off x="6092648" y="282644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 smtClean="0"/>
              <a:t>Linienfarbe</a:t>
            </a:r>
            <a:r>
              <a:rPr lang="de-DE" sz="1200" dirty="0" smtClean="0"/>
              <a:t> </a:t>
            </a:r>
            <a:r>
              <a:rPr lang="de-DE" sz="1200" dirty="0"/>
              <a:t>der selektierten Shapes auf gewählte Farbe.</a:t>
            </a:r>
          </a:p>
          <a:p>
            <a:r>
              <a:rPr lang="de-DE" sz="1200" dirty="0"/>
              <a:t>Ist kein Shape selektiert, werden alle Shapes mit der gewählten Linienfarbe markiert.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092648" y="332410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/>
              <a:t>Textfarbe</a:t>
            </a:r>
            <a:r>
              <a:rPr lang="de-DE" sz="1200" dirty="0"/>
              <a:t> der selektierten Shapes auf gewählte Farbe.</a:t>
            </a:r>
          </a:p>
          <a:p>
            <a:r>
              <a:rPr lang="de-DE" sz="1200" dirty="0"/>
              <a:t>Ist kein Shape selektiert, werden alle Shapes mit der gewählten Textfarbe markiert.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092648" y="431943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Hintergrundfarbe</a:t>
            </a:r>
            <a:r>
              <a:rPr lang="de-DE" sz="1200" dirty="0"/>
              <a:t>.</a:t>
            </a:r>
          </a:p>
        </p:txBody>
      </p:sp>
      <p:sp>
        <p:nvSpPr>
          <p:cNvPr id="16" name="Rechteck 15"/>
          <p:cNvSpPr/>
          <p:nvPr/>
        </p:nvSpPr>
        <p:spPr>
          <a:xfrm>
            <a:off x="4110914" y="382177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751172" y="382177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110914" y="481710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110914" y="5314769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4110914" y="581243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4751172" y="581243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Strg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5391430" y="5812434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>
                    <a:lumMod val="100000"/>
                  </a:schemeClr>
                </a:solidFill>
              </a:rPr>
              <a:t>Al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6092648" y="382177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tzt </a:t>
            </a:r>
            <a:r>
              <a:rPr lang="de-DE" sz="1200" b="1" dirty="0"/>
              <a:t>Textkontur</a:t>
            </a:r>
            <a:r>
              <a:rPr lang="de-DE" sz="1200" dirty="0"/>
              <a:t> der selektierten Shapes auf gewählte Farbe.</a:t>
            </a:r>
          </a:p>
          <a:p>
            <a:r>
              <a:rPr lang="de-DE" sz="1200" dirty="0"/>
              <a:t>Ist kein Shape selektiert, werden alle Shapes mit der gewählten Textkontur markiert.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6092648" y="481710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Linienfarbe</a:t>
            </a:r>
            <a:r>
              <a:rPr lang="de-DE" sz="1200" dirty="0"/>
              <a:t>.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6092648" y="5314769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Textfarbe</a:t>
            </a:r>
            <a:r>
              <a:rPr lang="de-DE" sz="1200" dirty="0"/>
              <a:t>.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6092648" y="5812434"/>
            <a:ext cx="5852371" cy="46166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sz="1200" dirty="0"/>
              <a:t>Selektiert alle Shapes mit entsprechender </a:t>
            </a:r>
            <a:r>
              <a:rPr lang="de-DE" sz="1200" b="1" dirty="0"/>
              <a:t>Textkontur</a:t>
            </a:r>
            <a:r>
              <a:rPr lang="de-DE" sz="1200" dirty="0"/>
              <a:t>.</a:t>
            </a: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132172" y="2467993"/>
            <a:ext cx="176213" cy="4024313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865" y="5968431"/>
            <a:ext cx="1343025" cy="523875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4865" y="4490490"/>
            <a:ext cx="461963" cy="1404938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02534" y="620770"/>
            <a:ext cx="7937500" cy="476250"/>
          </a:xfrm>
          <a:prstGeom prst="rect">
            <a:avLst/>
          </a:prstGeom>
        </p:spPr>
      </p:pic>
      <p:sp>
        <p:nvSpPr>
          <p:cNvPr id="34" name="Textfeld 33"/>
          <p:cNvSpPr txBox="1"/>
          <p:nvPr/>
        </p:nvSpPr>
        <p:spPr>
          <a:xfrm>
            <a:off x="132172" y="99298"/>
            <a:ext cx="2878993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200" b="1" dirty="0" err="1" smtClean="0">
                <a:latin typeface="Bauhaus 93" panose="04030905020B02020C02" pitchFamily="82" charset="0"/>
              </a:rPr>
              <a:t>QuickEdit</a:t>
            </a:r>
            <a:endParaRPr lang="de-DE" b="1" dirty="0" smtClean="0">
              <a:latin typeface="Bauhaus 93" panose="04030905020B02020C02" pitchFamily="82" charset="0"/>
            </a:endParaRPr>
          </a:p>
          <a:p>
            <a:r>
              <a:rPr lang="de-DE" sz="1600" dirty="0" smtClean="0">
                <a:latin typeface="Bauhaus 93" panose="04030905020B02020C02" pitchFamily="82" charset="0"/>
              </a:rPr>
              <a:t>Die multifunktionale Farbleiste </a:t>
            </a:r>
            <a:br>
              <a:rPr lang="de-DE" sz="1600" dirty="0" smtClean="0">
                <a:latin typeface="Bauhaus 93" panose="04030905020B02020C02" pitchFamily="82" charset="0"/>
              </a:rPr>
            </a:br>
            <a:r>
              <a:rPr lang="de-DE" sz="1600" dirty="0" smtClean="0">
                <a:latin typeface="Bauhaus 93" panose="04030905020B02020C02" pitchFamily="82" charset="0"/>
              </a:rPr>
              <a:t>für PowerPoint-</a:t>
            </a:r>
            <a:r>
              <a:rPr lang="de-DE" sz="1600" dirty="0" err="1" smtClean="0">
                <a:latin typeface="Bauhaus 93" panose="04030905020B02020C02" pitchFamily="82" charset="0"/>
              </a:rPr>
              <a:t>PowerUser</a:t>
            </a:r>
            <a:endParaRPr lang="de-DE" sz="1600" dirty="0">
              <a:latin typeface="Bauhaus 93" panose="04030905020B02020C02" pitchFamily="82" charset="0"/>
            </a:endParaRPr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8400" y="1898598"/>
            <a:ext cx="2321574" cy="1827622"/>
          </a:xfrm>
          <a:prstGeom prst="rect">
            <a:avLst/>
          </a:prstGeom>
        </p:spPr>
      </p:pic>
      <p:grpSp>
        <p:nvGrpSpPr>
          <p:cNvPr id="42" name="Gruppieren 41"/>
          <p:cNvGrpSpPr/>
          <p:nvPr/>
        </p:nvGrpSpPr>
        <p:grpSpPr>
          <a:xfrm>
            <a:off x="4008712" y="1034936"/>
            <a:ext cx="7924800" cy="858285"/>
            <a:chOff x="3364777" y="1622394"/>
            <a:chExt cx="5882401" cy="858285"/>
          </a:xfrm>
        </p:grpSpPr>
        <p:sp>
          <p:nvSpPr>
            <p:cNvPr id="36" name="Geschweifte Klammer rechts 35"/>
            <p:cNvSpPr/>
            <p:nvPr/>
          </p:nvSpPr>
          <p:spPr>
            <a:xfrm rot="5400000">
              <a:off x="4228708" y="758463"/>
              <a:ext cx="214465" cy="1942327"/>
            </a:xfrm>
            <a:prstGeom prst="rightBrace">
              <a:avLst>
                <a:gd name="adj1" fmla="val 1679"/>
                <a:gd name="adj2" fmla="val 50000"/>
              </a:avLst>
            </a:prstGeom>
            <a:ln w="12700">
              <a:solidFill>
                <a:schemeClr val="tx1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7" name="Geschweifte Klammer rechts 36"/>
            <p:cNvSpPr/>
            <p:nvPr/>
          </p:nvSpPr>
          <p:spPr>
            <a:xfrm rot="5400000">
              <a:off x="6198745" y="758463"/>
              <a:ext cx="214465" cy="1942327"/>
            </a:xfrm>
            <a:prstGeom prst="rightBrace">
              <a:avLst>
                <a:gd name="adj1" fmla="val 1679"/>
                <a:gd name="adj2" fmla="val 50000"/>
              </a:avLst>
            </a:prstGeom>
            <a:ln w="12700">
              <a:solidFill>
                <a:schemeClr val="tx1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8" name="Geschweifte Klammer rechts 37"/>
            <p:cNvSpPr/>
            <p:nvPr/>
          </p:nvSpPr>
          <p:spPr>
            <a:xfrm rot="5400000">
              <a:off x="8168783" y="758462"/>
              <a:ext cx="214464" cy="1942327"/>
            </a:xfrm>
            <a:prstGeom prst="rightBrace">
              <a:avLst>
                <a:gd name="adj1" fmla="val 1679"/>
                <a:gd name="adj2" fmla="val 50000"/>
              </a:avLst>
            </a:prstGeom>
            <a:ln w="12700">
              <a:solidFill>
                <a:schemeClr val="tx1">
                  <a:lumMod val="10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9" name="Textfeld 38"/>
            <p:cNvSpPr txBox="1">
              <a:spLocks/>
            </p:cNvSpPr>
            <p:nvPr/>
          </p:nvSpPr>
          <p:spPr>
            <a:xfrm>
              <a:off x="3400674" y="1795876"/>
              <a:ext cx="1870539" cy="68480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200" b="1" dirty="0" err="1" smtClean="0"/>
                <a:t>Theme</a:t>
              </a:r>
              <a:r>
                <a:rPr lang="de-DE" sz="1200" b="1" dirty="0" smtClean="0"/>
                <a:t>-Farben:</a:t>
              </a:r>
            </a:p>
            <a:p>
              <a:pPr algn="ctr">
                <a:spcAft>
                  <a:spcPts val="300"/>
                </a:spcAft>
              </a:pPr>
              <a:r>
                <a:rPr lang="de-DE" sz="1200" i="1" dirty="0" smtClean="0"/>
                <a:t>Werden definiert durch das Farbschema im Master-Template</a:t>
              </a:r>
              <a:endParaRPr lang="de-DE" sz="1200" i="1" dirty="0"/>
            </a:p>
          </p:txBody>
        </p:sp>
        <p:sp>
          <p:nvSpPr>
            <p:cNvPr id="40" name="Textfeld 39"/>
            <p:cNvSpPr txBox="1">
              <a:spLocks/>
            </p:cNvSpPr>
            <p:nvPr/>
          </p:nvSpPr>
          <p:spPr>
            <a:xfrm>
              <a:off x="5370712" y="1795876"/>
              <a:ext cx="1870539" cy="68480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200" b="1" dirty="0" smtClean="0"/>
                <a:t>Zuletzt genutzte Farbe:</a:t>
              </a:r>
            </a:p>
            <a:p>
              <a:pPr algn="ctr">
                <a:spcAft>
                  <a:spcPts val="300"/>
                </a:spcAft>
              </a:pPr>
              <a:r>
                <a:rPr lang="de-DE" sz="1200" i="1" dirty="0" smtClean="0"/>
                <a:t>Werden in der Präsentation gespeichert (nur RGB-Werte)</a:t>
              </a:r>
              <a:endParaRPr lang="de-DE" sz="1200" i="1" dirty="0"/>
            </a:p>
          </p:txBody>
        </p:sp>
        <p:sp>
          <p:nvSpPr>
            <p:cNvPr id="41" name="Textfeld 40"/>
            <p:cNvSpPr txBox="1">
              <a:spLocks/>
            </p:cNvSpPr>
            <p:nvPr/>
          </p:nvSpPr>
          <p:spPr>
            <a:xfrm>
              <a:off x="7340744" y="1795876"/>
              <a:ext cx="1870539" cy="68480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>
                <a:spcAft>
                  <a:spcPts val="300"/>
                </a:spcAft>
              </a:pPr>
              <a:r>
                <a:rPr lang="de-DE" sz="1200" b="1" dirty="0" smtClean="0"/>
                <a:t>Eigene Farben:</a:t>
              </a:r>
            </a:p>
            <a:p>
              <a:pPr algn="ctr">
                <a:spcAft>
                  <a:spcPts val="300"/>
                </a:spcAft>
              </a:pPr>
              <a:r>
                <a:rPr lang="de-DE" sz="1200" i="1" dirty="0" smtClean="0"/>
                <a:t>Frei wählbare Farben, die in den BKT-Einstellungen gespeichert werden</a:t>
              </a:r>
              <a:endParaRPr lang="de-DE" sz="1200" i="1" dirty="0"/>
            </a:p>
          </p:txBody>
        </p:sp>
      </p:grpSp>
      <p:sp>
        <p:nvSpPr>
          <p:cNvPr id="43" name="Ellipse 42"/>
          <p:cNvSpPr/>
          <p:nvPr/>
        </p:nvSpPr>
        <p:spPr>
          <a:xfrm>
            <a:off x="3961394" y="597910"/>
            <a:ext cx="180000" cy="180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Ellipse 43"/>
          <p:cNvSpPr/>
          <p:nvPr/>
        </p:nvSpPr>
        <p:spPr>
          <a:xfrm>
            <a:off x="11797946" y="597910"/>
            <a:ext cx="180000" cy="180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0994521" y="286240"/>
            <a:ext cx="8034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Schließen</a:t>
            </a:r>
            <a:endParaRPr lang="de-DE" sz="1200" dirty="0"/>
          </a:p>
        </p:txBody>
      </p:sp>
      <p:sp>
        <p:nvSpPr>
          <p:cNvPr id="49" name="Textfeld 48"/>
          <p:cNvSpPr txBox="1"/>
          <p:nvPr/>
        </p:nvSpPr>
        <p:spPr>
          <a:xfrm>
            <a:off x="4174573" y="286240"/>
            <a:ext cx="1220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Layout wechseln</a:t>
            </a:r>
            <a:endParaRPr lang="de-DE" sz="1200" dirty="0"/>
          </a:p>
        </p:txBody>
      </p:sp>
      <p:cxnSp>
        <p:nvCxnSpPr>
          <p:cNvPr id="50" name="Gerader Verbinder 49"/>
          <p:cNvCxnSpPr>
            <a:stCxn id="44" idx="0"/>
            <a:endCxn id="48" idx="3"/>
          </p:cNvCxnSpPr>
          <p:nvPr/>
        </p:nvCxnSpPr>
        <p:spPr>
          <a:xfrm rot="16200000" flipV="1">
            <a:off x="11756361" y="466325"/>
            <a:ext cx="173170" cy="90000"/>
          </a:xfrm>
          <a:prstGeom prst="bentConnector2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49"/>
          <p:cNvCxnSpPr>
            <a:stCxn id="43" idx="0"/>
            <a:endCxn id="49" idx="1"/>
          </p:cNvCxnSpPr>
          <p:nvPr/>
        </p:nvCxnSpPr>
        <p:spPr>
          <a:xfrm rot="5400000" flipH="1" flipV="1">
            <a:off x="4026398" y="449736"/>
            <a:ext cx="173170" cy="123179"/>
          </a:xfrm>
          <a:prstGeom prst="bentConnector2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49"/>
          <p:cNvCxnSpPr>
            <a:stCxn id="43" idx="2"/>
            <a:endCxn id="64" idx="3"/>
          </p:cNvCxnSpPr>
          <p:nvPr/>
        </p:nvCxnSpPr>
        <p:spPr>
          <a:xfrm rot="10800000" flipV="1">
            <a:off x="3106722" y="687910"/>
            <a:ext cx="854673" cy="1131848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211650" y="1696647"/>
            <a:ext cx="18950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i="1" dirty="0" smtClean="0">
                <a:solidFill>
                  <a:schemeClr val="tx1">
                    <a:lumMod val="100000"/>
                  </a:schemeClr>
                </a:solidFill>
              </a:rPr>
              <a:t>Kontextmenü (rechte Maustaste)</a:t>
            </a:r>
            <a:endParaRPr lang="de-DE" sz="1000" i="1" dirty="0">
              <a:solidFill>
                <a:schemeClr val="tx1">
                  <a:lumMod val="100000"/>
                </a:schemeClr>
              </a:solidFill>
            </a:endParaRPr>
          </a:p>
        </p:txBody>
      </p:sp>
      <p:grpSp>
        <p:nvGrpSpPr>
          <p:cNvPr id="81" name="Gruppieren 80"/>
          <p:cNvGrpSpPr/>
          <p:nvPr/>
        </p:nvGrpSpPr>
        <p:grpSpPr>
          <a:xfrm>
            <a:off x="492272" y="6682742"/>
            <a:ext cx="11207456" cy="112612"/>
            <a:chOff x="537532" y="6682742"/>
            <a:chExt cx="11207456" cy="112612"/>
          </a:xfrm>
        </p:grpSpPr>
        <p:sp>
          <p:nvSpPr>
            <p:cNvPr id="71" name="Eingekerbter Richtungspfeil 70"/>
            <p:cNvSpPr/>
            <p:nvPr/>
          </p:nvSpPr>
          <p:spPr>
            <a:xfrm rot="5400000">
              <a:off x="711664" y="6508610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ingekerbter Richtungspfeil 71"/>
            <p:cNvSpPr/>
            <p:nvPr/>
          </p:nvSpPr>
          <p:spPr>
            <a:xfrm rot="5400000">
              <a:off x="1905729" y="6508611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ingekerbter Richtungspfeil 72"/>
            <p:cNvSpPr/>
            <p:nvPr/>
          </p:nvSpPr>
          <p:spPr>
            <a:xfrm rot="5400000">
              <a:off x="3099794" y="6508612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Eingekerbter Richtungspfeil 73"/>
            <p:cNvSpPr/>
            <p:nvPr/>
          </p:nvSpPr>
          <p:spPr>
            <a:xfrm rot="5400000">
              <a:off x="4293859" y="6508613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5" name="Eingekerbter Richtungspfeil 74"/>
            <p:cNvSpPr/>
            <p:nvPr/>
          </p:nvSpPr>
          <p:spPr>
            <a:xfrm rot="5400000">
              <a:off x="5487924" y="6508614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Eingekerbter Richtungspfeil 75"/>
            <p:cNvSpPr/>
            <p:nvPr/>
          </p:nvSpPr>
          <p:spPr>
            <a:xfrm rot="5400000">
              <a:off x="6681989" y="6508615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Eingekerbter Richtungspfeil 76"/>
            <p:cNvSpPr/>
            <p:nvPr/>
          </p:nvSpPr>
          <p:spPr>
            <a:xfrm rot="5400000">
              <a:off x="7876054" y="6508616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8" name="Eingekerbter Richtungspfeil 77"/>
            <p:cNvSpPr/>
            <p:nvPr/>
          </p:nvSpPr>
          <p:spPr>
            <a:xfrm rot="5400000">
              <a:off x="9070119" y="6508617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9" name="Eingekerbter Richtungspfeil 78"/>
            <p:cNvSpPr/>
            <p:nvPr/>
          </p:nvSpPr>
          <p:spPr>
            <a:xfrm rot="5400000">
              <a:off x="10264184" y="6508618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Eingekerbter Richtungspfeil 79"/>
            <p:cNvSpPr/>
            <p:nvPr/>
          </p:nvSpPr>
          <p:spPr>
            <a:xfrm rot="5400000">
              <a:off x="11458252" y="6508619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" name="Textfeld 1"/>
          <p:cNvSpPr txBox="1"/>
          <p:nvPr/>
        </p:nvSpPr>
        <p:spPr>
          <a:xfrm>
            <a:off x="4008712" y="6414769"/>
            <a:ext cx="538801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i="1" dirty="0" smtClean="0"/>
              <a:t>Hinweis für Mac-</a:t>
            </a:r>
            <a:r>
              <a:rPr lang="de-DE" sz="1000" i="1" dirty="0" err="1" smtClean="0"/>
              <a:t>Parallels</a:t>
            </a:r>
            <a:r>
              <a:rPr lang="de-DE" sz="1000" i="1" dirty="0" smtClean="0"/>
              <a:t>-Nutzer: J</a:t>
            </a:r>
            <a:r>
              <a:rPr lang="de-DE" sz="1000" i="1" dirty="0"/>
              <a:t>e nach Einstellung fängt </a:t>
            </a:r>
            <a:r>
              <a:rPr lang="de-DE" sz="1000" i="1" dirty="0" err="1"/>
              <a:t>Parallels</a:t>
            </a:r>
            <a:r>
              <a:rPr lang="de-DE" sz="1000" i="1" dirty="0"/>
              <a:t> einige Tastenkombinationen ab</a:t>
            </a:r>
            <a:r>
              <a:rPr lang="de-DE" sz="1000" i="1" dirty="0" smtClean="0"/>
              <a:t>.</a:t>
            </a:r>
            <a:endParaRPr lang="de-DE" sz="1000" i="1" dirty="0"/>
          </a:p>
        </p:txBody>
      </p:sp>
      <p:sp>
        <p:nvSpPr>
          <p:cNvPr id="3" name="Textfeld 2"/>
          <p:cNvSpPr txBox="1"/>
          <p:nvPr/>
        </p:nvSpPr>
        <p:spPr>
          <a:xfrm>
            <a:off x="11965590" y="6662100"/>
            <a:ext cx="1811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000" dirty="0" smtClean="0"/>
              <a:t>1/2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12429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487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7310" y="0"/>
            <a:ext cx="484009" cy="535500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5027767" y="784065"/>
            <a:ext cx="193480" cy="193480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hteck 70"/>
          <p:cNvSpPr/>
          <p:nvPr/>
        </p:nvSpPr>
        <p:spPr>
          <a:xfrm>
            <a:off x="8344428" y="784065"/>
            <a:ext cx="193480" cy="193480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2534" y="620770"/>
            <a:ext cx="7937500" cy="476250"/>
          </a:xfrm>
          <a:prstGeom prst="rect">
            <a:avLst/>
          </a:prstGeom>
        </p:spPr>
      </p:pic>
      <p:sp>
        <p:nvSpPr>
          <p:cNvPr id="110" name="Rechteck 109"/>
          <p:cNvSpPr/>
          <p:nvPr/>
        </p:nvSpPr>
        <p:spPr>
          <a:xfrm>
            <a:off x="2979202" y="4863578"/>
            <a:ext cx="694338" cy="4114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5" name="Rechteck 114"/>
          <p:cNvSpPr/>
          <p:nvPr/>
        </p:nvSpPr>
        <p:spPr>
          <a:xfrm>
            <a:off x="3321756" y="5059058"/>
            <a:ext cx="694338" cy="411480"/>
          </a:xfrm>
          <a:prstGeom prst="rect">
            <a:avLst/>
          </a:prstGeom>
          <a:solidFill>
            <a:schemeClr val="accent1">
              <a:alpha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132172" y="2467993"/>
            <a:ext cx="176213" cy="4024313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4865" y="5968431"/>
            <a:ext cx="1343025" cy="523875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4865" y="4490490"/>
            <a:ext cx="461963" cy="1404938"/>
          </a:xfrm>
          <a:prstGeom prst="rect">
            <a:avLst/>
          </a:prstGeom>
        </p:spPr>
      </p:pic>
      <p:sp>
        <p:nvSpPr>
          <p:cNvPr id="34" name="Textfeld 33"/>
          <p:cNvSpPr txBox="1"/>
          <p:nvPr/>
        </p:nvSpPr>
        <p:spPr>
          <a:xfrm>
            <a:off x="132172" y="99298"/>
            <a:ext cx="2878993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200" b="1" dirty="0" err="1" smtClean="0">
                <a:latin typeface="Bauhaus 93" panose="04030905020B02020C02" pitchFamily="82" charset="0"/>
              </a:rPr>
              <a:t>QuickEdit</a:t>
            </a:r>
            <a:endParaRPr lang="de-DE" b="1" dirty="0" smtClean="0">
              <a:latin typeface="Bauhaus 93" panose="04030905020B02020C02" pitchFamily="82" charset="0"/>
            </a:endParaRPr>
          </a:p>
          <a:p>
            <a:r>
              <a:rPr lang="de-DE" sz="1600" dirty="0">
                <a:latin typeface="Bauhaus 93" panose="04030905020B02020C02" pitchFamily="82" charset="0"/>
              </a:rPr>
              <a:t>Die multifunktionale Farbleiste </a:t>
            </a:r>
            <a:br>
              <a:rPr lang="de-DE" sz="1600" dirty="0">
                <a:latin typeface="Bauhaus 93" panose="04030905020B02020C02" pitchFamily="82" charset="0"/>
              </a:rPr>
            </a:br>
            <a:r>
              <a:rPr lang="de-DE" sz="1600" dirty="0">
                <a:latin typeface="Bauhaus 93" panose="04030905020B02020C02" pitchFamily="82" charset="0"/>
              </a:rPr>
              <a:t>für PowerPoint-</a:t>
            </a:r>
            <a:r>
              <a:rPr lang="de-DE" sz="1600" dirty="0" err="1">
                <a:latin typeface="Bauhaus 93" panose="04030905020B02020C02" pitchFamily="82" charset="0"/>
              </a:rPr>
              <a:t>PowerUser</a:t>
            </a:r>
            <a:endParaRPr lang="de-DE" sz="1600" dirty="0">
              <a:latin typeface="Bauhaus 93" panose="04030905020B02020C02" pitchFamily="82" charset="0"/>
            </a:endParaRPr>
          </a:p>
        </p:txBody>
      </p:sp>
      <p:grpSp>
        <p:nvGrpSpPr>
          <p:cNvPr id="62" name="Gruppieren 61"/>
          <p:cNvGrpSpPr/>
          <p:nvPr/>
        </p:nvGrpSpPr>
        <p:grpSpPr>
          <a:xfrm flipV="1">
            <a:off x="492272" y="6682742"/>
            <a:ext cx="11207456" cy="112612"/>
            <a:chOff x="537532" y="6682742"/>
            <a:chExt cx="11207456" cy="112612"/>
          </a:xfrm>
        </p:grpSpPr>
        <p:sp>
          <p:nvSpPr>
            <p:cNvPr id="63" name="Eingekerbter Richtungspfeil 62"/>
            <p:cNvSpPr/>
            <p:nvPr/>
          </p:nvSpPr>
          <p:spPr>
            <a:xfrm rot="5400000">
              <a:off x="711664" y="6508610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Eingekerbter Richtungspfeil 64"/>
            <p:cNvSpPr/>
            <p:nvPr/>
          </p:nvSpPr>
          <p:spPr>
            <a:xfrm rot="5400000">
              <a:off x="1905729" y="6508611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Eingekerbter Richtungspfeil 65"/>
            <p:cNvSpPr/>
            <p:nvPr/>
          </p:nvSpPr>
          <p:spPr>
            <a:xfrm rot="5400000">
              <a:off x="3099794" y="6508612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Eingekerbter Richtungspfeil 66"/>
            <p:cNvSpPr/>
            <p:nvPr/>
          </p:nvSpPr>
          <p:spPr>
            <a:xfrm rot="5400000">
              <a:off x="4293859" y="6508613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8" name="Eingekerbter Richtungspfeil 67"/>
            <p:cNvSpPr/>
            <p:nvPr/>
          </p:nvSpPr>
          <p:spPr>
            <a:xfrm rot="5400000">
              <a:off x="5487924" y="6508614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Eingekerbter Richtungspfeil 68"/>
            <p:cNvSpPr/>
            <p:nvPr/>
          </p:nvSpPr>
          <p:spPr>
            <a:xfrm rot="5400000">
              <a:off x="6681989" y="6508615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0" name="Eingekerbter Richtungspfeil 69"/>
            <p:cNvSpPr/>
            <p:nvPr/>
          </p:nvSpPr>
          <p:spPr>
            <a:xfrm rot="5400000">
              <a:off x="7876054" y="6508616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2" name="Eingekerbter Richtungspfeil 81"/>
            <p:cNvSpPr/>
            <p:nvPr/>
          </p:nvSpPr>
          <p:spPr>
            <a:xfrm rot="5400000">
              <a:off x="9070119" y="6508617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3" name="Eingekerbter Richtungspfeil 82"/>
            <p:cNvSpPr/>
            <p:nvPr/>
          </p:nvSpPr>
          <p:spPr>
            <a:xfrm rot="5400000">
              <a:off x="10264184" y="6508618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4" name="Eingekerbter Richtungspfeil 83"/>
            <p:cNvSpPr/>
            <p:nvPr/>
          </p:nvSpPr>
          <p:spPr>
            <a:xfrm rot="5400000">
              <a:off x="11458252" y="6508619"/>
              <a:ext cx="112603" cy="460868"/>
            </a:xfrm>
            <a:prstGeom prst="chevron">
              <a:avLst/>
            </a:prstGeom>
            <a:solidFill>
              <a:schemeClr val="accent3">
                <a:lumMod val="10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5" name="Gruppieren 84"/>
          <p:cNvGrpSpPr/>
          <p:nvPr/>
        </p:nvGrpSpPr>
        <p:grpSpPr>
          <a:xfrm>
            <a:off x="2979202" y="2974049"/>
            <a:ext cx="632605" cy="843473"/>
            <a:chOff x="4651200" y="1360800"/>
            <a:chExt cx="993600" cy="1324800"/>
          </a:xfrm>
        </p:grpSpPr>
        <p:grpSp>
          <p:nvGrpSpPr>
            <p:cNvPr id="86" name="Gruppieren 85"/>
            <p:cNvGrpSpPr/>
            <p:nvPr/>
          </p:nvGrpSpPr>
          <p:grpSpPr>
            <a:xfrm>
              <a:off x="4651200" y="1360800"/>
              <a:ext cx="993600" cy="1324800"/>
              <a:chOff x="4593600" y="1360800"/>
              <a:chExt cx="1108800" cy="1324800"/>
            </a:xfrm>
          </p:grpSpPr>
          <p:sp>
            <p:nvSpPr>
              <p:cNvPr id="88" name="Abgerundetes Rechteck 87"/>
              <p:cNvSpPr/>
              <p:nvPr/>
            </p:nvSpPr>
            <p:spPr>
              <a:xfrm>
                <a:off x="4593600" y="1360800"/>
                <a:ext cx="1108800" cy="1324800"/>
              </a:xfrm>
              <a:prstGeom prst="roundRect">
                <a:avLst/>
              </a:prstGeom>
              <a:solidFill>
                <a:schemeClr val="bg2">
                  <a:lumMod val="100000"/>
                </a:schemeClr>
              </a:solidFill>
              <a:ln>
                <a:solidFill>
                  <a:schemeClr val="accent3">
                    <a:lumMod val="100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89" name="Gerader Verbinder 88"/>
              <p:cNvCxnSpPr/>
              <p:nvPr/>
            </p:nvCxnSpPr>
            <p:spPr>
              <a:xfrm>
                <a:off x="4593600" y="1800000"/>
                <a:ext cx="1108800" cy="0"/>
              </a:xfrm>
              <a:prstGeom prst="line">
                <a:avLst/>
              </a:prstGeom>
              <a:ln w="127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r Verbinder 89"/>
              <p:cNvCxnSpPr>
                <a:stCxn id="88" idx="0"/>
              </p:cNvCxnSpPr>
              <p:nvPr/>
            </p:nvCxnSpPr>
            <p:spPr>
              <a:xfrm>
                <a:off x="5148000" y="1360800"/>
                <a:ext cx="0" cy="439200"/>
              </a:xfrm>
              <a:prstGeom prst="line">
                <a:avLst/>
              </a:prstGeom>
              <a:ln w="127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" name="Abgerundetes Rechteck 86"/>
            <p:cNvSpPr/>
            <p:nvPr/>
          </p:nvSpPr>
          <p:spPr>
            <a:xfrm>
              <a:off x="5079600" y="1515166"/>
              <a:ext cx="136800" cy="352800"/>
            </a:xfrm>
            <a:prstGeom prst="roundRect">
              <a:avLst/>
            </a:prstGeom>
            <a:gradFill flip="none" rotWithShape="1">
              <a:gsLst>
                <a:gs pos="0">
                  <a:schemeClr val="bg2">
                    <a:lumMod val="100000"/>
                    <a:shade val="30000"/>
                    <a:satMod val="115000"/>
                  </a:schemeClr>
                </a:gs>
                <a:gs pos="50000">
                  <a:schemeClr val="bg2">
                    <a:lumMod val="100000"/>
                    <a:shade val="67500"/>
                    <a:satMod val="115000"/>
                  </a:schemeClr>
                </a:gs>
                <a:gs pos="100000">
                  <a:schemeClr val="bg2">
                    <a:lumMod val="100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91" name="Textfeld 90"/>
          <p:cNvSpPr txBox="1"/>
          <p:nvPr/>
        </p:nvSpPr>
        <p:spPr>
          <a:xfrm>
            <a:off x="2976136" y="1546860"/>
            <a:ext cx="2410172" cy="122747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txBody>
          <a:bodyPr wrap="square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b="1" dirty="0" smtClean="0"/>
              <a:t>Keine Farbe:</a:t>
            </a:r>
          </a:p>
          <a:p>
            <a:pPr>
              <a:spcAft>
                <a:spcPts val="300"/>
              </a:spcAft>
            </a:pPr>
            <a:r>
              <a:rPr lang="de-DE" sz="1200" dirty="0" smtClean="0"/>
              <a:t>Farbe entfernen (durchsichtig); je nach Tastenkombination wird Hintergrund, Linie oder Text farblos</a:t>
            </a:r>
          </a:p>
        </p:txBody>
      </p:sp>
      <p:sp>
        <p:nvSpPr>
          <p:cNvPr id="92" name="Textfeld 91"/>
          <p:cNvSpPr txBox="1"/>
          <p:nvPr/>
        </p:nvSpPr>
        <p:spPr>
          <a:xfrm>
            <a:off x="5602917" y="1546860"/>
            <a:ext cx="2410172" cy="122747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txBody>
          <a:bodyPr wrap="square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b="1" dirty="0" smtClean="0"/>
              <a:t>Farbe hinzufügen:</a:t>
            </a:r>
          </a:p>
          <a:p>
            <a:pPr>
              <a:spcAft>
                <a:spcPts val="300"/>
              </a:spcAft>
            </a:pPr>
            <a:r>
              <a:rPr lang="de-DE" sz="1200" dirty="0" smtClean="0"/>
              <a:t>Hintergrundfarbe des aktiven Shapes zu zuletzt genutzten Farben hinzufügen (max. 10, „älteste“ Farbe wird automatisch entfernt)</a:t>
            </a:r>
            <a:endParaRPr lang="de-DE" sz="1200" dirty="0"/>
          </a:p>
        </p:txBody>
      </p:sp>
      <p:sp>
        <p:nvSpPr>
          <p:cNvPr id="93" name="Textfeld 92"/>
          <p:cNvSpPr txBox="1"/>
          <p:nvPr/>
        </p:nvSpPr>
        <p:spPr>
          <a:xfrm>
            <a:off x="8226301" y="1546860"/>
            <a:ext cx="2410172" cy="1227476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txBody>
          <a:bodyPr wrap="square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b="1" dirty="0" smtClean="0"/>
              <a:t>Editiermodus an/aus:</a:t>
            </a:r>
          </a:p>
          <a:p>
            <a:pPr>
              <a:spcAft>
                <a:spcPts val="300"/>
              </a:spcAft>
            </a:pPr>
            <a:r>
              <a:rPr lang="de-DE" sz="1200" dirty="0" smtClean="0"/>
              <a:t>Bearbeitungsmodus aktivieren und Button klicken, um Farbe des aktiven Shapes in Button zu speichern</a:t>
            </a:r>
            <a:endParaRPr lang="de-DE" sz="1200" dirty="0"/>
          </a:p>
        </p:txBody>
      </p:sp>
      <p:sp>
        <p:nvSpPr>
          <p:cNvPr id="94" name="Rechteck 93"/>
          <p:cNvSpPr/>
          <p:nvPr/>
        </p:nvSpPr>
        <p:spPr>
          <a:xfrm>
            <a:off x="5602917" y="2951342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5" name="Textfeld 94"/>
          <p:cNvSpPr txBox="1"/>
          <p:nvPr/>
        </p:nvSpPr>
        <p:spPr>
          <a:xfrm>
            <a:off x="6264410" y="2951343"/>
            <a:ext cx="1748679" cy="866180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Farb-Auswahldialog </a:t>
            </a:r>
            <a:br>
              <a:rPr lang="de-DE" sz="1200" dirty="0" smtClean="0"/>
            </a:br>
            <a:r>
              <a:rPr lang="de-DE" sz="1200" dirty="0" smtClean="0"/>
              <a:t>anzeigen anstatt Hintergrundfarbe des aktiven Shapes zu nutzen</a:t>
            </a:r>
            <a:endParaRPr lang="de-DE" sz="1200" dirty="0"/>
          </a:p>
        </p:txBody>
      </p:sp>
      <p:sp>
        <p:nvSpPr>
          <p:cNvPr id="96" name="Rechteck 95"/>
          <p:cNvSpPr/>
          <p:nvPr/>
        </p:nvSpPr>
        <p:spPr>
          <a:xfrm>
            <a:off x="8226301" y="2951342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7" name="Textfeld 96"/>
          <p:cNvSpPr txBox="1"/>
          <p:nvPr/>
        </p:nvSpPr>
        <p:spPr>
          <a:xfrm>
            <a:off x="8887794" y="2951343"/>
            <a:ext cx="1748679" cy="866180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Farb-Auswahldialog </a:t>
            </a:r>
            <a:br>
              <a:rPr lang="de-DE" sz="1200" dirty="0" smtClean="0"/>
            </a:br>
            <a:r>
              <a:rPr lang="de-DE" sz="1200" dirty="0" smtClean="0"/>
              <a:t>anzeigen anstatt Hintergrundfarbe des aktiven Shapes zu nutzen</a:t>
            </a:r>
            <a:endParaRPr lang="de-DE" sz="1200" dirty="0"/>
          </a:p>
        </p:txBody>
      </p:sp>
      <p:sp>
        <p:nvSpPr>
          <p:cNvPr id="98" name="Textfeld 97"/>
          <p:cNvSpPr txBox="1"/>
          <p:nvPr/>
        </p:nvSpPr>
        <p:spPr>
          <a:xfrm>
            <a:off x="3655357" y="2951342"/>
            <a:ext cx="1730952" cy="1015663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Scrollrad während die Maus auf dem Button ist ändert die Hintergrund-Transparenz selektierter Shapes in 10%-Schritten</a:t>
            </a:r>
            <a:endParaRPr lang="de-DE" sz="1200" dirty="0"/>
          </a:p>
        </p:txBody>
      </p:sp>
      <p:cxnSp>
        <p:nvCxnSpPr>
          <p:cNvPr id="3" name="Gewinkelte Verbindung 2"/>
          <p:cNvCxnSpPr>
            <a:stCxn id="47" idx="4"/>
            <a:endCxn id="91" idx="0"/>
          </p:cNvCxnSpPr>
          <p:nvPr/>
        </p:nvCxnSpPr>
        <p:spPr>
          <a:xfrm>
            <a:off x="4181222" y="1056229"/>
            <a:ext cx="0" cy="490631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winkelte Verbindung 2"/>
          <p:cNvCxnSpPr>
            <a:stCxn id="46" idx="4"/>
            <a:endCxn id="92" idx="0"/>
          </p:cNvCxnSpPr>
          <p:nvPr/>
        </p:nvCxnSpPr>
        <p:spPr>
          <a:xfrm>
            <a:off x="6808003" y="1025339"/>
            <a:ext cx="0" cy="521521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winkelte Verbindung 2"/>
          <p:cNvCxnSpPr>
            <a:stCxn id="45" idx="4"/>
            <a:endCxn id="93" idx="0"/>
          </p:cNvCxnSpPr>
          <p:nvPr/>
        </p:nvCxnSpPr>
        <p:spPr>
          <a:xfrm>
            <a:off x="9431387" y="1056229"/>
            <a:ext cx="0" cy="490631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llipse 44"/>
          <p:cNvSpPr>
            <a:spLocks noChangeAspect="1"/>
          </p:cNvSpPr>
          <p:nvPr/>
        </p:nvSpPr>
        <p:spPr>
          <a:xfrm>
            <a:off x="9305387" y="804229"/>
            <a:ext cx="252000" cy="252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6" name="Ellipse 45"/>
          <p:cNvSpPr>
            <a:spLocks noChangeAspect="1"/>
          </p:cNvSpPr>
          <p:nvPr/>
        </p:nvSpPr>
        <p:spPr>
          <a:xfrm>
            <a:off x="6682003" y="773339"/>
            <a:ext cx="252000" cy="252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7" name="Ellipse 46"/>
          <p:cNvSpPr>
            <a:spLocks noChangeAspect="1"/>
          </p:cNvSpPr>
          <p:nvPr/>
        </p:nvSpPr>
        <p:spPr>
          <a:xfrm>
            <a:off x="4055222" y="804229"/>
            <a:ext cx="252000" cy="252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02" name="Grafik 10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71911" y="4389040"/>
            <a:ext cx="2665095" cy="1813869"/>
          </a:xfrm>
          <a:prstGeom prst="rect">
            <a:avLst/>
          </a:prstGeom>
        </p:spPr>
      </p:pic>
      <p:cxnSp>
        <p:nvCxnSpPr>
          <p:cNvPr id="104" name="Gerader Verbinder 103"/>
          <p:cNvCxnSpPr>
            <a:stCxn id="95" idx="2"/>
            <a:endCxn id="102" idx="0"/>
          </p:cNvCxnSpPr>
          <p:nvPr/>
        </p:nvCxnSpPr>
        <p:spPr>
          <a:xfrm>
            <a:off x="7138750" y="3817523"/>
            <a:ext cx="1265709" cy="571517"/>
          </a:xfrm>
          <a:prstGeom prst="line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/>
          <p:cNvCxnSpPr>
            <a:stCxn id="97" idx="2"/>
            <a:endCxn id="102" idx="0"/>
          </p:cNvCxnSpPr>
          <p:nvPr/>
        </p:nvCxnSpPr>
        <p:spPr>
          <a:xfrm flipH="1">
            <a:off x="8404459" y="3817523"/>
            <a:ext cx="1357675" cy="571517"/>
          </a:xfrm>
          <a:prstGeom prst="line">
            <a:avLst/>
          </a:prstGeom>
          <a:ln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3664310" y="5254538"/>
            <a:ext cx="694338" cy="41148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" name="Rechteck 111"/>
          <p:cNvSpPr/>
          <p:nvPr/>
        </p:nvSpPr>
        <p:spPr>
          <a:xfrm>
            <a:off x="4006864" y="5450018"/>
            <a:ext cx="694338" cy="41148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" name="Rechteck 112"/>
          <p:cNvSpPr/>
          <p:nvPr/>
        </p:nvSpPr>
        <p:spPr>
          <a:xfrm>
            <a:off x="4349418" y="5645498"/>
            <a:ext cx="694338" cy="411480"/>
          </a:xfrm>
          <a:prstGeom prst="rect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4" name="Rechteck 113"/>
          <p:cNvSpPr/>
          <p:nvPr/>
        </p:nvSpPr>
        <p:spPr>
          <a:xfrm>
            <a:off x="4691971" y="5840978"/>
            <a:ext cx="694338" cy="411480"/>
          </a:xfrm>
          <a:prstGeom prst="rect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2993375" y="4050130"/>
            <a:ext cx="604258" cy="414686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>
                    <a:lumMod val="100000"/>
                  </a:schemeClr>
                </a:solidFill>
              </a:rPr>
              <a:t>Shift</a:t>
            </a:r>
            <a:endParaRPr lang="de-DE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237796" y="3799007"/>
            <a:ext cx="11541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b="1" dirty="0" smtClean="0"/>
              <a:t>+</a:t>
            </a:r>
            <a:endParaRPr lang="de-DE" b="1" dirty="0"/>
          </a:p>
        </p:txBody>
      </p:sp>
      <p:sp>
        <p:nvSpPr>
          <p:cNvPr id="50" name="Textfeld 49"/>
          <p:cNvSpPr txBox="1"/>
          <p:nvPr/>
        </p:nvSpPr>
        <p:spPr>
          <a:xfrm>
            <a:off x="3655357" y="4050130"/>
            <a:ext cx="1730952" cy="674368"/>
          </a:xfrm>
          <a:prstGeom prst="rect">
            <a:avLst/>
          </a:prstGeom>
          <a:noFill/>
        </p:spPr>
        <p:txBody>
          <a:bodyPr wrap="square" t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200" dirty="0" smtClean="0"/>
              <a:t>Ändert Linien-Transparenz statt Hintergrund-Transparenz</a:t>
            </a:r>
            <a:endParaRPr lang="de-DE" sz="1200" dirty="0"/>
          </a:p>
        </p:txBody>
      </p:sp>
      <p:sp>
        <p:nvSpPr>
          <p:cNvPr id="51" name="Textfeld 50"/>
          <p:cNvSpPr txBox="1"/>
          <p:nvPr/>
        </p:nvSpPr>
        <p:spPr>
          <a:xfrm>
            <a:off x="11965590" y="6662100"/>
            <a:ext cx="18113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000" dirty="0" smtClean="0"/>
              <a:t>2/2</a:t>
            </a:r>
            <a:endParaRPr lang="de-DE" sz="1000" dirty="0"/>
          </a:p>
        </p:txBody>
      </p:sp>
      <p:sp>
        <p:nvSpPr>
          <p:cNvPr id="53" name="Textfeld 52"/>
          <p:cNvSpPr txBox="1"/>
          <p:nvPr/>
        </p:nvSpPr>
        <p:spPr>
          <a:xfrm>
            <a:off x="4649376" y="110932"/>
            <a:ext cx="4890011" cy="405683"/>
          </a:xfrm>
          <a:prstGeom prst="rect">
            <a:avLst/>
          </a:prstGeom>
          <a:noFill/>
          <a:ln>
            <a:solidFill>
              <a:schemeClr val="bg2">
                <a:lumMod val="100000"/>
              </a:schemeClr>
            </a:solidFill>
          </a:ln>
        </p:spPr>
        <p:txBody>
          <a:bodyPr wrap="square" lIns="0" tIns="36000" rIns="0" bIns="0" rtlCol="0">
            <a:spAutoFit/>
          </a:bodyPr>
          <a:lstStyle/>
          <a:p>
            <a:pPr algn="ctr"/>
            <a:r>
              <a:rPr lang="de-DE" sz="1200" dirty="0" smtClean="0"/>
              <a:t>Ist ein einzelnes Shapes markiert, geben die </a:t>
            </a:r>
            <a:r>
              <a:rPr lang="de-DE" sz="1200" b="1" dirty="0" smtClean="0"/>
              <a:t>aktivierten Buttons </a:t>
            </a:r>
            <a:r>
              <a:rPr lang="de-DE" sz="1200" dirty="0" smtClean="0"/>
              <a:t>an, dass das Shape diese Farben als Hintergrundfarbe oder Linienfarbe verwendet.</a:t>
            </a:r>
            <a:endParaRPr lang="de-DE" sz="1200" dirty="0"/>
          </a:p>
        </p:txBody>
      </p:sp>
      <p:cxnSp>
        <p:nvCxnSpPr>
          <p:cNvPr id="54" name="Gerader Verbinder 49"/>
          <p:cNvCxnSpPr>
            <a:stCxn id="12" idx="0"/>
            <a:endCxn id="53" idx="3"/>
          </p:cNvCxnSpPr>
          <p:nvPr/>
        </p:nvCxnSpPr>
        <p:spPr>
          <a:xfrm rot="5400000" flipH="1" flipV="1">
            <a:off x="7096802" y="-1658520"/>
            <a:ext cx="470291" cy="4414880"/>
          </a:xfrm>
          <a:prstGeom prst="bentConnector4">
            <a:avLst>
              <a:gd name="adj1" fmla="val 45514"/>
              <a:gd name="adj2" fmla="val 105178"/>
            </a:avLst>
          </a:prstGeom>
          <a:ln>
            <a:solidFill>
              <a:schemeClr val="tx1">
                <a:lumMod val="10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49"/>
          <p:cNvCxnSpPr>
            <a:stCxn id="53" idx="3"/>
            <a:endCxn id="71" idx="0"/>
          </p:cNvCxnSpPr>
          <p:nvPr/>
        </p:nvCxnSpPr>
        <p:spPr>
          <a:xfrm flipH="1">
            <a:off x="8441168" y="313774"/>
            <a:ext cx="1098219" cy="470291"/>
          </a:xfrm>
          <a:prstGeom prst="bentConnector4">
            <a:avLst>
              <a:gd name="adj1" fmla="val -20816"/>
              <a:gd name="adj2" fmla="val 54486"/>
            </a:avLst>
          </a:prstGeom>
          <a:ln>
            <a:solidFill>
              <a:schemeClr val="tx1">
                <a:lumMod val="100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49"/>
          <p:cNvCxnSpPr>
            <a:cxnSpLocks/>
            <a:endCxn id="53" idx="1"/>
          </p:cNvCxnSpPr>
          <p:nvPr/>
        </p:nvCxnSpPr>
        <p:spPr>
          <a:xfrm>
            <a:off x="4318931" y="313774"/>
            <a:ext cx="330445" cy="0"/>
          </a:xfrm>
          <a:prstGeom prst="straightConnector1">
            <a:avLst/>
          </a:prstGeom>
          <a:ln>
            <a:solidFill>
              <a:schemeClr val="tx1">
                <a:lumMod val="10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40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5</Words>
  <Application>Microsoft Office PowerPoint</Application>
  <PresentationFormat>Breitbild</PresentationFormat>
  <Paragraphs>5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Bauhaus 93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58</cp:revision>
  <dcterms:created xsi:type="dcterms:W3CDTF">2019-04-03T19:28:22Z</dcterms:created>
  <dcterms:modified xsi:type="dcterms:W3CDTF">2019-04-11T14:35:42Z</dcterms:modified>
</cp:coreProperties>
</file>